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1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9789BC4-B122-4E3A-BA63-63563F396CD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 up to 40% of blowing air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0513" y="1424369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ARK: Air Recovery Kit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>
                <a:solidFill>
                  <a:srgbClr val="000000"/>
                </a:solidFill>
              </a:rPr>
              <a:t>, Sustainability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Universal b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1005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Up 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40% </a:t>
                      </a:r>
                      <a:r>
                        <a:rPr lang="en-US" sz="1200" dirty="0"/>
                        <a:t>of blowing air is recovered and reus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eturn on investment in just 12-24 month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Demand on compressors is also reduced resulting in significant electricity savings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ir recovery kit enables a significant amoun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the air otherwise lost to be recycled for use in production and thus reduce energy consumption considerabl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recovered air is then used for the production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air as follow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 air for the blow wheel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tretching and nozzle cylinders)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cess air can also feed the factory's air network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 other application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 hygiene reasons, the air recovery option is not compatible with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di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quipment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617132"/>
            <a:ext cx="1173935" cy="1022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66E56C74-FD49-495D-8522-37439EF21DFD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413347D8-4D07-490B-ADDE-46B5CFB654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4" y="44744"/>
            <a:ext cx="1076437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885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7</TotalTime>
  <Words>69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cover up to 4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2</cp:revision>
  <dcterms:created xsi:type="dcterms:W3CDTF">2017-06-28T07:21:44Z</dcterms:created>
  <dcterms:modified xsi:type="dcterms:W3CDTF">2020-11-20T10:4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28:44.175703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